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832" r:id="rId5"/>
  </p:sldIdLst>
  <p:sldSz cx="15544800" cy="100584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sign" id="{AB6416A1-1A39-6943-90E8-D99E149BDCD6}">
          <p14:sldIdLst>
            <p14:sldId id="832"/>
          </p14:sldIdLst>
        </p14:section>
      </p14:sectionLst>
    </p:ext>
    <p:ext uri="{EFAFB233-063F-42B5-8137-9DF3F51BA10A}">
      <p15:sldGuideLst xmlns:p15="http://schemas.microsoft.com/office/powerpoint/2012/main">
        <p15:guide id="2" pos="4896" userDrawn="1">
          <p15:clr>
            <a:srgbClr val="A4A3A4"/>
          </p15:clr>
        </p15:guide>
        <p15:guide id="3" orient="horz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3898" autoAdjust="0"/>
  </p:normalViewPr>
  <p:slideViewPr>
    <p:cSldViewPr snapToGrid="0" snapToObjects="1">
      <p:cViewPr varScale="1">
        <p:scale>
          <a:sx n="64" d="100"/>
          <a:sy n="64" d="100"/>
        </p:scale>
        <p:origin x="1866" y="66"/>
      </p:cViewPr>
      <p:guideLst>
        <p:guide pos="4896"/>
        <p:guide orient="horz" pos="3168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121" d="100"/>
          <a:sy n="121" d="100"/>
        </p:scale>
        <p:origin x="766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6/15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6/1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4575" y="1143000"/>
            <a:ext cx="47688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4575" y="1143000"/>
            <a:ext cx="47688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dirty="0"/>
              <a:t>HOW TO USE THIS TEMPLATE:</a:t>
            </a:r>
            <a:br>
              <a:rPr lang="en-US" sz="800" dirty="0"/>
            </a:b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Edit your slide</a:t>
            </a:r>
            <a:br>
              <a:rPr lang="en-US" sz="800" dirty="0"/>
            </a:br>
            <a:r>
              <a:rPr lang="en-US" sz="800" dirty="0"/>
              <a:t>- Replace the placeholder text area with your first and last name</a:t>
            </a:r>
          </a:p>
          <a:p>
            <a:pPr marL="228600" indent="-228600">
              <a:buFont typeface="+mj-lt"/>
              <a:buAutoNum type="arabicPeriod"/>
            </a:pP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Go to File → Save As</a:t>
            </a:r>
            <a:br>
              <a:rPr lang="en-US" sz="800" dirty="0"/>
            </a:br>
            <a:r>
              <a:rPr lang="en-US" sz="800" dirty="0"/>
              <a:t>- Choose where you want to save your file</a:t>
            </a:r>
          </a:p>
          <a:p>
            <a:pPr marL="228600" indent="-228600">
              <a:buFont typeface="+mj-lt"/>
              <a:buAutoNum type="arabicPeriod"/>
            </a:pP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Change the file type</a:t>
            </a:r>
            <a:br>
              <a:rPr lang="en-US" sz="800" dirty="0"/>
            </a:br>
            <a:r>
              <a:rPr lang="en-US" sz="800" dirty="0"/>
              <a:t>- In the “Save as type” dropdown, select :JPEG File Interchange Format (*.jpg)</a:t>
            </a:r>
          </a:p>
          <a:p>
            <a:pPr marL="228600" indent="-228600">
              <a:buFont typeface="+mj-lt"/>
              <a:buAutoNum type="arabicPeriod"/>
            </a:pP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Click SavePowerPoint will ask: “All Slides” or “Just This One?”Choose Just This One</a:t>
            </a:r>
            <a:br>
              <a:rPr lang="en-US" sz="800" dirty="0"/>
            </a:b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Done!</a:t>
            </a:r>
            <a:br>
              <a:rPr lang="en-US" sz="800" dirty="0"/>
            </a:br>
            <a:r>
              <a:rPr lang="en-US" sz="800" dirty="0"/>
              <a:t>Your JPG will be saved in the selected folder, ready to sh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olarship Recipient Imag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A201C02-11D9-094F-E646-37934321CC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181" y="805"/>
            <a:ext cx="15538437" cy="10056788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3" name="Group 82">
            <a:extLst>
              <a:ext uri="{FF2B5EF4-FFF2-40B4-BE49-F238E27FC236}">
                <a16:creationId xmlns:a16="http://schemas.microsoft.com/office/drawing/2014/main" id="{5CDF7B3B-49CD-35CF-C03B-8CE1FB3708B6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4467862" y="-3"/>
            <a:ext cx="4389280" cy="5269555"/>
            <a:chOff x="11656854" y="683441"/>
            <a:chExt cx="2904671" cy="5389317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618B4E0-8D4D-1571-844D-41D2B1FADC6F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656854" y="683441"/>
              <a:ext cx="2904671" cy="4721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/>
                <a:t>HOW TO USE THIS TEMPLATE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81854F9-FEBF-4AEB-48F0-6565C7F2C39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979582" y="1193800"/>
              <a:ext cx="2581943" cy="48789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381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 your slide</a:t>
              </a:r>
            </a:p>
            <a:p>
              <a:pPr marL="182880" marR="0" lvl="0" indent="-182880" algn="l" defTabSz="1381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Replace the placeholder text area with your first and last name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Go to File → Save As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Choose where you want to save your file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hange the file type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In the “Save as type” dropdown, select:JPEG File Interchange Format (*.jpg)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lick Save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will ask: “</a:t>
              </a:r>
              <a:r>
                <a:rPr lang="en-US" sz="1600" b="0" i="1" dirty="0">
                  <a:solidFill>
                    <a:schemeClr val="tx2"/>
                  </a:solidFill>
                </a:rPr>
                <a:t>All Slides</a:t>
              </a:r>
              <a:r>
                <a:rPr lang="en-US" sz="1600" b="0" dirty="0">
                  <a:solidFill>
                    <a:schemeClr val="tx2"/>
                  </a:solidFill>
                </a:rPr>
                <a:t>”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r>
                <a:rPr lang="en-US" sz="1600" b="0" dirty="0">
                  <a:solidFill>
                    <a:schemeClr val="tx2"/>
                  </a:solidFill>
                </a:rPr>
                <a:t>or “</a:t>
              </a:r>
              <a:r>
                <a:rPr lang="en-US" sz="1600" b="0" i="1" dirty="0">
                  <a:solidFill>
                    <a:schemeClr val="tx2"/>
                  </a:solidFill>
                </a:rPr>
                <a:t>Just This One</a:t>
              </a:r>
              <a:r>
                <a:rPr lang="en-US" sz="1600" b="0" dirty="0">
                  <a:solidFill>
                    <a:schemeClr val="tx2"/>
                  </a:solidFill>
                </a:rPr>
                <a:t>?”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Choose </a:t>
              </a:r>
              <a:r>
                <a:rPr lang="en-US" sz="1600" b="0" i="1" dirty="0">
                  <a:solidFill>
                    <a:schemeClr val="tx2"/>
                  </a:solidFill>
                </a:rPr>
                <a:t>Just This One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0" dirty="0">
                  <a:solidFill>
                    <a:schemeClr val="tx2"/>
                  </a:solidFill>
                </a:rPr>
                <a:t>Done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Your JPG will be saved in the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r>
                <a:rPr lang="en-US" sz="1600" b="0" dirty="0">
                  <a:solidFill>
                    <a:schemeClr val="tx2"/>
                  </a:solidFill>
                </a:rPr>
                <a:t>selected folder, ready to share</a:t>
              </a: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45768BFE-4E40-5DCF-B982-D226FB8CCB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44615" y="1258818"/>
              <a:ext cx="122400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3D2DD55-3B82-9FD8-9FFC-8AC9C2ADCAE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34890" y="2265686"/>
              <a:ext cx="141853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51B903B-29D9-7D13-B4CD-84D7709652A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32053" y="3019224"/>
              <a:ext cx="147529" cy="235193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F84B030-5B5F-889B-9DD4-8613AA08733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36118" y="4015633"/>
              <a:ext cx="139395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5218547-19E5-1903-16D6-845A7E94CAF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32947" y="5287383"/>
              <a:ext cx="145739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44F38C-B44B-A1CB-4BEA-26FCAE3ED2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57400" y="5268913"/>
            <a:ext cx="11430000" cy="992187"/>
          </a:xfrm>
        </p:spPr>
        <p:txBody>
          <a:bodyPr anchor="ctr">
            <a:noAutofit/>
          </a:bodyPr>
          <a:lstStyle>
            <a:lvl1pPr algn="ctr">
              <a:buFont typeface="Arial" panose="020B0604020202020204" pitchFamily="34" charset="0"/>
              <a:buNone/>
              <a:defRPr sz="4800" i="1"/>
            </a:lvl1pPr>
            <a:lvl2pPr>
              <a:buFont typeface="Arial" panose="020B0604020202020204" pitchFamily="34" charset="0"/>
              <a:buNone/>
              <a:defRPr sz="3200" i="1"/>
            </a:lvl2pPr>
            <a:lvl3pPr>
              <a:buNone/>
              <a:defRPr sz="3200" i="1"/>
            </a:lvl3pPr>
            <a:lvl4pPr>
              <a:buNone/>
              <a:defRPr sz="3200" i="1"/>
            </a:lvl4pPr>
            <a:lvl5pPr>
              <a:buNone/>
              <a:defRPr sz="3200" i="1"/>
            </a:lvl5pPr>
          </a:lstStyle>
          <a:p>
            <a:pPr lvl="0"/>
            <a:r>
              <a:rPr lang="en-US" dirty="0"/>
              <a:t>YOUR NAME</a:t>
            </a:r>
          </a:p>
        </p:txBody>
      </p:sp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705" y="998855"/>
            <a:ext cx="13407391" cy="836363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705" y="2111270"/>
            <a:ext cx="13407391" cy="694827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705" y="9322648"/>
            <a:ext cx="3497580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June 15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8706" y="331788"/>
            <a:ext cx="13407389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76447" y="9335601"/>
            <a:ext cx="661974" cy="53551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2267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</p:sldLayoutIdLst>
  <p:hf sldNum="0" hdr="0"/>
  <p:txStyles>
    <p:titleStyle>
      <a:lvl1pPr algn="l" defTabSz="2072625" rtl="0" eaLnBrk="1" latinLnBrk="0" hangingPunct="1">
        <a:lnSpc>
          <a:spcPct val="90000"/>
        </a:lnSpc>
        <a:spcBef>
          <a:spcPct val="0"/>
        </a:spcBef>
        <a:buNone/>
        <a:defRPr sz="9067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414525" indent="-414525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1pPr>
      <a:lvl2pPr marL="1554469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2pPr>
      <a:lvl3pPr marL="2590781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3pPr>
      <a:lvl4pPr marL="3627093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4pPr>
      <a:lvl5pPr marL="4663406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5pPr>
      <a:lvl6pPr marL="5699718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736030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772343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808655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1pPr>
      <a:lvl2pPr marL="103631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2pPr>
      <a:lvl3pPr marL="2072625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3pPr>
      <a:lvl4pPr marL="310893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4pPr>
      <a:lvl5pPr marL="414525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5pPr>
      <a:lvl6pPr marL="518156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217874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25418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290499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6041600" y="-2739600"/>
          <a:ext cx="3599" cy="3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6041600" y="-2739600"/>
                        <a:ext cx="3599" cy="3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0ADAB-BF3A-EE78-230D-C1F2AEE017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F59F76151802488AB89B1C3A876B55" ma:contentTypeVersion="18" ma:contentTypeDescription="Create a new document." ma:contentTypeScope="" ma:versionID="e014c30230f34ea5e9239dd35318ff44">
  <xsd:schema xmlns:xsd="http://www.w3.org/2001/XMLSchema" xmlns:xs="http://www.w3.org/2001/XMLSchema" xmlns:p="http://schemas.microsoft.com/office/2006/metadata/properties" xmlns:ns3="1f7b7158-da0a-41d9-b5a4-951805a81842" xmlns:ns4="0be2b4af-3aa2-4f68-922f-84e310d8c846" targetNamespace="http://schemas.microsoft.com/office/2006/metadata/properties" ma:root="true" ma:fieldsID="edca4beb4b3ac6eb6991fdb1dd16b370" ns3:_="" ns4:_="">
    <xsd:import namespace="1f7b7158-da0a-41d9-b5a4-951805a81842"/>
    <xsd:import namespace="0be2b4af-3aa2-4f68-922f-84e310d8c84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b7158-da0a-41d9-b5a4-951805a818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e2b4af-3aa2-4f68-922f-84e310d8c8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be2b4af-3aa2-4f68-922f-84e310d8c846" xsi:nil="true"/>
  </documentManagement>
</p:properties>
</file>

<file path=customXml/itemProps1.xml><?xml version="1.0" encoding="utf-8"?>
<ds:datastoreItem xmlns:ds="http://schemas.openxmlformats.org/officeDocument/2006/customXml" ds:itemID="{849294E7-ED17-4770-A8C2-73F72B584F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7b7158-da0a-41d9-b5a4-951805a81842"/>
    <ds:schemaRef ds:uri="0be2b4af-3aa2-4f68-922f-84e310d8c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8778</TotalTime>
  <Words>102</Words>
  <Application>Microsoft Office PowerPoint</Application>
  <PresentationFormat>Custom</PresentationFormat>
  <Paragraphs>1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83</cp:revision>
  <dcterms:created xsi:type="dcterms:W3CDTF">2026-05-20T21:46:16Z</dcterms:created>
  <dcterms:modified xsi:type="dcterms:W3CDTF">2026-06-15T22:2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F59F76151802488AB89B1C3A876B55</vt:lpwstr>
  </property>
  <property fmtid="{D5CDD505-2E9C-101B-9397-08002B2CF9AE}" pid="3" name="MediaServiceImageTags">
    <vt:lpwstr/>
  </property>
</Properties>
</file>